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96" y="3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kmål Startside Alt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25265"/>
          <a:stretch/>
        </p:blipFill>
        <p:spPr>
          <a:xfrm>
            <a:off x="5375920" y="1347859"/>
            <a:ext cx="6816080" cy="5498652"/>
          </a:xfrm>
          <a:prstGeom prst="rect">
            <a:avLst/>
          </a:prstGeom>
        </p:spPr>
      </p:pic>
      <p:sp>
        <p:nvSpPr>
          <p:cNvPr id="8" name="TekstSylinder 7"/>
          <p:cNvSpPr txBox="1"/>
          <p:nvPr userDrawn="1"/>
        </p:nvSpPr>
        <p:spPr>
          <a:xfrm>
            <a:off x="5" y="-268287"/>
            <a:ext cx="3983567" cy="24590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nb-NO" sz="998" dirty="0" smtClean="0"/>
              <a:t>Bokmål </a:t>
            </a:r>
            <a:r>
              <a:rPr lang="nb-NO" sz="998" dirty="0"/>
              <a:t>mal: </a:t>
            </a:r>
            <a:r>
              <a:rPr lang="nb-NO" sz="998" dirty="0" smtClean="0"/>
              <a:t>Startside Alternativ 1</a:t>
            </a:r>
            <a:endParaRPr lang="nb-NO" sz="998" dirty="0"/>
          </a:p>
        </p:txBody>
      </p:sp>
      <p:cxnSp>
        <p:nvCxnSpPr>
          <p:cNvPr id="19" name="Rett linje 18"/>
          <p:cNvCxnSpPr/>
          <p:nvPr userDrawn="1"/>
        </p:nvCxnSpPr>
        <p:spPr>
          <a:xfrm>
            <a:off x="1062506" y="368664"/>
            <a:ext cx="0" cy="3262455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Plassholder for tekst 34"/>
          <p:cNvSpPr>
            <a:spLocks noGrp="1"/>
          </p:cNvSpPr>
          <p:nvPr>
            <p:ph type="body" sz="quarter" idx="17" hasCustomPrompt="1"/>
          </p:nvPr>
        </p:nvSpPr>
        <p:spPr>
          <a:xfrm>
            <a:off x="1199456" y="2384594"/>
            <a:ext cx="9792000" cy="288000"/>
          </a:xfrm>
        </p:spPr>
        <p:txBody>
          <a:bodyPr lIns="0" anchor="ctr" anchorCtr="0"/>
          <a:lstStyle>
            <a:lvl1pPr marL="0" indent="0">
              <a:buNone/>
              <a:defRPr sz="1166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dirty="0" smtClean="0"/>
              <a:t>Navn Foredragsholder</a:t>
            </a:r>
          </a:p>
        </p:txBody>
      </p:sp>
      <p:sp>
        <p:nvSpPr>
          <p:cNvPr id="39" name="Plassholder for tekst 38"/>
          <p:cNvSpPr>
            <a:spLocks noGrp="1"/>
          </p:cNvSpPr>
          <p:nvPr>
            <p:ph type="body" sz="quarter" idx="18" hasCustomPrompt="1"/>
          </p:nvPr>
        </p:nvSpPr>
        <p:spPr>
          <a:xfrm>
            <a:off x="1199456" y="2744926"/>
            <a:ext cx="9792000" cy="288000"/>
          </a:xfrm>
        </p:spPr>
        <p:txBody>
          <a:bodyPr lIns="0" anchor="ctr" anchorCtr="0"/>
          <a:lstStyle>
            <a:lvl1pPr marL="0" indent="0">
              <a:buNone/>
              <a:defRPr sz="1166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dirty="0" smtClean="0"/>
              <a:t>Sted, dato</a:t>
            </a:r>
          </a:p>
        </p:txBody>
      </p:sp>
      <p:sp>
        <p:nvSpPr>
          <p:cNvPr id="11" name="Plassholder for tekst 4"/>
          <p:cNvSpPr>
            <a:spLocks noGrp="1"/>
          </p:cNvSpPr>
          <p:nvPr>
            <p:ph type="body" sz="quarter" idx="20" hasCustomPrompt="1"/>
          </p:nvPr>
        </p:nvSpPr>
        <p:spPr>
          <a:xfrm>
            <a:off x="1198800" y="1124745"/>
            <a:ext cx="9792000" cy="1144800"/>
          </a:xfrm>
        </p:spPr>
        <p:txBody>
          <a:bodyPr lIns="0" anchor="b" anchorCtr="0"/>
          <a:lstStyle>
            <a:lvl1pPr marL="0" indent="0">
              <a:buNone/>
              <a:defRPr sz="2662" b="1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 smtClean="0"/>
              <a:t>Presentasjonstittel</a:t>
            </a:r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6" y="527253"/>
            <a:ext cx="298705" cy="362714"/>
          </a:xfrm>
          <a:prstGeom prst="rect">
            <a:avLst/>
          </a:prstGeom>
        </p:spPr>
      </p:pic>
      <p:sp>
        <p:nvSpPr>
          <p:cNvPr id="12" name="TekstSylinder 11"/>
          <p:cNvSpPr txBox="1"/>
          <p:nvPr userDrawn="1"/>
        </p:nvSpPr>
        <p:spPr>
          <a:xfrm>
            <a:off x="1111501" y="467150"/>
            <a:ext cx="4660464" cy="391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nb-NO" sz="1080" noProof="0" dirty="0" smtClean="0"/>
              <a:t>Kommunal- og</a:t>
            </a:r>
            <a:br>
              <a:rPr lang="nb-NO" sz="1080" noProof="0" dirty="0" smtClean="0"/>
            </a:br>
            <a:r>
              <a:rPr lang="nb-NO" sz="1080" noProof="0" dirty="0" smtClean="0"/>
              <a:t>moderniseringsdepartementet</a:t>
            </a:r>
            <a:endParaRPr lang="nb-NO" sz="1080" noProof="0" dirty="0"/>
          </a:p>
        </p:txBody>
      </p:sp>
    </p:spTree>
    <p:extLst>
      <p:ext uri="{BB962C8B-B14F-4D97-AF65-F5344CB8AC3E}">
        <p14:creationId xmlns:p14="http://schemas.microsoft.com/office/powerpoint/2010/main" val="1846715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kmål Tekst med ligg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Sylinder 4"/>
          <p:cNvSpPr txBox="1"/>
          <p:nvPr userDrawn="1"/>
        </p:nvSpPr>
        <p:spPr>
          <a:xfrm>
            <a:off x="-95251" y="-304798"/>
            <a:ext cx="10128251" cy="24590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nb-NO" sz="998" dirty="0" smtClean="0"/>
              <a:t>Bokmål </a:t>
            </a:r>
            <a:r>
              <a:rPr lang="nb-NO" sz="998" dirty="0"/>
              <a:t>mal: Tekst med liggende bilde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98800" y="296652"/>
            <a:ext cx="9792000" cy="1143000"/>
          </a:xfrm>
        </p:spPr>
        <p:txBody>
          <a:bodyPr/>
          <a:lstStyle/>
          <a:p>
            <a:r>
              <a:rPr lang="nb-NO" noProof="0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198800" y="1592799"/>
            <a:ext cx="9792000" cy="2340259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-1431" y="3967522"/>
            <a:ext cx="12192000" cy="215124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algn="ctr">
              <a:buNone/>
              <a:defRPr sz="8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 smtClean="0"/>
              <a:t>Klikk ikonet for å legge til et bilde</a:t>
            </a:r>
            <a:endParaRPr lang="nb-NO" noProof="0" dirty="0" smtClean="0"/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0208408" y="6314400"/>
            <a:ext cx="1002147" cy="216000"/>
          </a:xfrm>
          <a:prstGeom prst="rect">
            <a:avLst/>
          </a:prstGeom>
        </p:spPr>
        <p:txBody>
          <a:bodyPr lIns="72000"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A2BD35D-A3E1-4509-A475-9B35C4AA3138}" type="datetime4">
              <a:rPr lang="nb-NO" smtClean="0"/>
              <a:t>3. februar 2018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475821" y="6314400"/>
            <a:ext cx="5688632" cy="216000"/>
          </a:xfrm>
          <a:prstGeom prst="rect">
            <a:avLst/>
          </a:prstGeom>
        </p:spPr>
        <p:txBody>
          <a:bodyPr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nb-NO" dirty="0" smtClean="0"/>
              <a:t>Tittel på presentasjonen</a:t>
            </a:r>
            <a:endParaRPr lang="nb-NO" dirty="0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244986" y="6314400"/>
            <a:ext cx="503642" cy="216000"/>
          </a:xfrm>
          <a:prstGeom prst="rect">
            <a:avLst/>
          </a:prstGeom>
        </p:spPr>
        <p:txBody>
          <a:bodyPr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/>
              <a:pPr>
                <a:defRPr/>
              </a:pPr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27589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kmål Tekst med utfall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Sylinder 2"/>
          <p:cNvSpPr txBox="1"/>
          <p:nvPr userDrawn="1"/>
        </p:nvSpPr>
        <p:spPr>
          <a:xfrm>
            <a:off x="-95251" y="-304798"/>
            <a:ext cx="10128251" cy="24590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nb-NO" sz="998" dirty="0" smtClean="0"/>
              <a:t>Bokmål </a:t>
            </a:r>
            <a:r>
              <a:rPr lang="nb-NO" sz="998" dirty="0"/>
              <a:t>mal:1 utfallende bilde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4"/>
            <a:ext cx="12192000" cy="611716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buNone/>
              <a:defRPr sz="998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b-NO" dirty="0" smtClean="0"/>
              <a:t>Klikk ikonet for å legge til bilde</a:t>
            </a:r>
            <a:endParaRPr lang="nb-NO" dirty="0"/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0208408" y="6314400"/>
            <a:ext cx="1002147" cy="216000"/>
          </a:xfrm>
          <a:prstGeom prst="rect">
            <a:avLst/>
          </a:prstGeom>
        </p:spPr>
        <p:txBody>
          <a:bodyPr lIns="72000"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A2BD35D-A3E1-4509-A475-9B35C4AA3138}" type="datetime4">
              <a:rPr lang="nb-NO" smtClean="0"/>
              <a:t>3. februar 2018</a:t>
            </a:fld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475821" y="6314400"/>
            <a:ext cx="5688632" cy="216000"/>
          </a:xfrm>
          <a:prstGeom prst="rect">
            <a:avLst/>
          </a:prstGeom>
        </p:spPr>
        <p:txBody>
          <a:bodyPr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nb-NO" dirty="0" smtClean="0"/>
              <a:t>Tittel på presentasjonen</a:t>
            </a:r>
            <a:endParaRPr lang="nb-NO" dirty="0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244986" y="6314400"/>
            <a:ext cx="503642" cy="216000"/>
          </a:xfrm>
          <a:prstGeom prst="rect">
            <a:avLst/>
          </a:prstGeom>
        </p:spPr>
        <p:txBody>
          <a:bodyPr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/>
              <a:pPr>
                <a:defRPr/>
              </a:pPr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59507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kmål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Sylinder 3"/>
          <p:cNvSpPr txBox="1"/>
          <p:nvPr userDrawn="1"/>
        </p:nvSpPr>
        <p:spPr>
          <a:xfrm>
            <a:off x="-95251" y="-304798"/>
            <a:ext cx="10128251" cy="24590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nb-NO" sz="998" dirty="0" smtClean="0"/>
              <a:t>Bokmål </a:t>
            </a:r>
            <a:r>
              <a:rPr lang="nb-NO" sz="998" dirty="0"/>
              <a:t>mal: Diagram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98399" y="296863"/>
            <a:ext cx="9792000" cy="114300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9" name="Plassholder for diagram 8"/>
          <p:cNvSpPr>
            <a:spLocks noGrp="1"/>
          </p:cNvSpPr>
          <p:nvPr>
            <p:ph type="chart" sz="quarter" idx="13"/>
          </p:nvPr>
        </p:nvSpPr>
        <p:spPr>
          <a:xfrm>
            <a:off x="1198800" y="1592264"/>
            <a:ext cx="9792000" cy="4525766"/>
          </a:xfrm>
        </p:spPr>
        <p:txBody>
          <a:bodyPr/>
          <a:lstStyle>
            <a:lvl1pPr>
              <a:buNone/>
              <a:defRPr sz="166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 smtClean="0"/>
              <a:t>Klikk ikonet for å legge til et diagram</a:t>
            </a:r>
            <a:endParaRPr lang="nb-NO" noProof="0" dirty="0"/>
          </a:p>
        </p:txBody>
      </p:sp>
      <p:sp>
        <p:nvSpPr>
          <p:cNvPr id="15" name="TekstSylinder 14"/>
          <p:cNvSpPr txBox="1"/>
          <p:nvPr userDrawn="1"/>
        </p:nvSpPr>
        <p:spPr>
          <a:xfrm>
            <a:off x="-2761189" y="4725146"/>
            <a:ext cx="2448983" cy="101373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nb-NO" sz="998" b="1" dirty="0"/>
              <a:t>Tips bunntekst:</a:t>
            </a:r>
          </a:p>
          <a:p>
            <a:pPr>
              <a:defRPr/>
            </a:pPr>
            <a:r>
              <a:rPr lang="nb-NO" sz="998" b="1" dirty="0"/>
              <a:t>For </a:t>
            </a:r>
            <a:r>
              <a:rPr lang="nb-NO" sz="998" b="1" dirty="0" smtClean="0"/>
              <a:t>å få sidenummer</a:t>
            </a:r>
            <a:r>
              <a:rPr lang="nb-NO" sz="998" b="1" dirty="0"/>
              <a:t>, </a:t>
            </a:r>
            <a:r>
              <a:rPr lang="nb-NO" sz="998" b="1" dirty="0" smtClean="0"/>
              <a:t>dato</a:t>
            </a:r>
            <a:r>
              <a:rPr lang="nb-NO" sz="998" b="1" baseline="0" dirty="0" smtClean="0"/>
              <a:t> </a:t>
            </a:r>
            <a:r>
              <a:rPr lang="nb-NO" sz="998" b="1" dirty="0" smtClean="0"/>
              <a:t>og tittel </a:t>
            </a:r>
            <a:r>
              <a:rPr lang="nb-NO" sz="998" b="1" dirty="0"/>
              <a:t>på presentasjon:</a:t>
            </a:r>
          </a:p>
          <a:p>
            <a:pPr>
              <a:defRPr/>
            </a:pPr>
            <a:r>
              <a:rPr lang="nb-NO" sz="998" dirty="0"/>
              <a:t>Klikk  på</a:t>
            </a:r>
          </a:p>
          <a:p>
            <a:pPr>
              <a:defRPr/>
            </a:pPr>
            <a:r>
              <a:rPr lang="nb-NO" sz="998" dirty="0"/>
              <a:t>”Sett Inn” -&gt; Topp og </a:t>
            </a:r>
            <a:r>
              <a:rPr lang="nb-NO" sz="998" dirty="0" smtClean="0"/>
              <a:t>bunntekst</a:t>
            </a:r>
          </a:p>
          <a:p>
            <a:pPr>
              <a:defRPr/>
            </a:pPr>
            <a:r>
              <a:rPr lang="nb-NO" sz="998" baseline="0" dirty="0" smtClean="0"/>
              <a:t>- </a:t>
            </a:r>
            <a:r>
              <a:rPr lang="nb-NO" sz="998" dirty="0" smtClean="0"/>
              <a:t>Huk </a:t>
            </a:r>
            <a:r>
              <a:rPr lang="nb-NO" sz="998" dirty="0"/>
              <a:t>av for ønsket tekst.</a:t>
            </a:r>
          </a:p>
        </p:txBody>
      </p:sp>
      <p:cxnSp>
        <p:nvCxnSpPr>
          <p:cNvPr id="16" name="Vinkel 15"/>
          <p:cNvCxnSpPr/>
          <p:nvPr userDrawn="1"/>
        </p:nvCxnSpPr>
        <p:spPr>
          <a:xfrm>
            <a:off x="-1536697" y="5984877"/>
            <a:ext cx="1104900" cy="647700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0208408" y="6314400"/>
            <a:ext cx="1002147" cy="216000"/>
          </a:xfrm>
          <a:prstGeom prst="rect">
            <a:avLst/>
          </a:prstGeom>
        </p:spPr>
        <p:txBody>
          <a:bodyPr lIns="72000"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A2BD35D-A3E1-4509-A475-9B35C4AA3138}" type="datetime4">
              <a:rPr lang="nb-NO" smtClean="0"/>
              <a:t>3. februar 2018</a:t>
            </a:fld>
            <a:endParaRPr lang="nb-NO" dirty="0"/>
          </a:p>
        </p:txBody>
      </p:sp>
      <p:sp>
        <p:nvSpPr>
          <p:cNvPr id="1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475821" y="6314400"/>
            <a:ext cx="5688632" cy="216000"/>
          </a:xfrm>
          <a:prstGeom prst="rect">
            <a:avLst/>
          </a:prstGeom>
        </p:spPr>
        <p:txBody>
          <a:bodyPr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nb-NO" dirty="0" smtClean="0"/>
              <a:t>Tittel på presentasjonen</a:t>
            </a:r>
            <a:endParaRPr lang="nb-NO" dirty="0"/>
          </a:p>
        </p:txBody>
      </p:sp>
      <p:sp>
        <p:nvSpPr>
          <p:cNvPr id="1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244986" y="6314400"/>
            <a:ext cx="503642" cy="216000"/>
          </a:xfrm>
          <a:prstGeom prst="rect">
            <a:avLst/>
          </a:prstGeom>
        </p:spPr>
        <p:txBody>
          <a:bodyPr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/>
              <a:pPr>
                <a:defRPr/>
              </a:pPr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86765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kmål Tab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Sylinder 3"/>
          <p:cNvSpPr txBox="1"/>
          <p:nvPr userDrawn="1"/>
        </p:nvSpPr>
        <p:spPr>
          <a:xfrm>
            <a:off x="-95251" y="-304798"/>
            <a:ext cx="10128251" cy="24590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nb-NO" sz="998" dirty="0" smtClean="0"/>
              <a:t>Bokmål </a:t>
            </a:r>
            <a:r>
              <a:rPr lang="nb-NO" sz="998" dirty="0"/>
              <a:t>mal: Tabell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98800" y="296863"/>
            <a:ext cx="9792000" cy="1143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0" name="Plassholder for tabell 9"/>
          <p:cNvSpPr>
            <a:spLocks noGrp="1"/>
          </p:cNvSpPr>
          <p:nvPr>
            <p:ph type="tbl" sz="quarter" idx="13"/>
          </p:nvPr>
        </p:nvSpPr>
        <p:spPr>
          <a:xfrm>
            <a:off x="1198800" y="1592264"/>
            <a:ext cx="9792000" cy="4525766"/>
          </a:xfrm>
        </p:spPr>
        <p:txBody>
          <a:bodyPr/>
          <a:lstStyle>
            <a:lvl1pPr>
              <a:buNone/>
              <a:defRPr sz="166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 smtClean="0"/>
              <a:t>Klikk ikonet for å legge til en tabell</a:t>
            </a:r>
            <a:endParaRPr lang="nb-NO" noProof="0" dirty="0"/>
          </a:p>
        </p:txBody>
      </p:sp>
      <p:sp>
        <p:nvSpPr>
          <p:cNvPr id="8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0208408" y="6314400"/>
            <a:ext cx="1002147" cy="216000"/>
          </a:xfrm>
          <a:prstGeom prst="rect">
            <a:avLst/>
          </a:prstGeom>
        </p:spPr>
        <p:txBody>
          <a:bodyPr lIns="72000"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A2BD35D-A3E1-4509-A475-9B35C4AA3138}" type="datetime4">
              <a:rPr lang="nb-NO" smtClean="0"/>
              <a:t>3. februar 2018</a:t>
            </a:fld>
            <a:endParaRPr lang="nb-NO" dirty="0"/>
          </a:p>
        </p:txBody>
      </p:sp>
      <p:sp>
        <p:nvSpPr>
          <p:cNvPr id="13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475821" y="6314400"/>
            <a:ext cx="5688632" cy="216000"/>
          </a:xfrm>
          <a:prstGeom prst="rect">
            <a:avLst/>
          </a:prstGeom>
        </p:spPr>
        <p:txBody>
          <a:bodyPr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nb-NO" dirty="0" smtClean="0"/>
              <a:t>Tittel på presentasjonen</a:t>
            </a:r>
            <a:endParaRPr lang="nb-NO" dirty="0"/>
          </a:p>
        </p:txBody>
      </p:sp>
      <p:sp>
        <p:nvSpPr>
          <p:cNvPr id="14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244986" y="6314400"/>
            <a:ext cx="503642" cy="216000"/>
          </a:xfrm>
          <a:prstGeom prst="rect">
            <a:avLst/>
          </a:prstGeom>
        </p:spPr>
        <p:txBody>
          <a:bodyPr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/>
              <a:pPr>
                <a:defRPr/>
              </a:pPr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55589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Bokmål 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Sylinder 4"/>
          <p:cNvSpPr txBox="1"/>
          <p:nvPr userDrawn="1"/>
        </p:nvSpPr>
        <p:spPr>
          <a:xfrm>
            <a:off x="-95251" y="-304798"/>
            <a:ext cx="10128251" cy="24590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nb-NO" sz="998" dirty="0" smtClean="0"/>
              <a:t>Bokmål </a:t>
            </a:r>
            <a:r>
              <a:rPr lang="nb-NO" sz="998" dirty="0"/>
              <a:t>mal: To innholdsdeler - Sammenlikning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98399" y="296863"/>
            <a:ext cx="9792000" cy="1143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198801" y="1591399"/>
            <a:ext cx="4860000" cy="4525963"/>
          </a:xfrm>
        </p:spPr>
        <p:txBody>
          <a:bodyPr/>
          <a:lstStyle>
            <a:lvl1pPr>
              <a:defRPr sz="1996"/>
            </a:lvl1pPr>
            <a:lvl2pPr>
              <a:defRPr sz="1832"/>
            </a:lvl2pPr>
            <a:lvl3pPr>
              <a:defRPr sz="1664"/>
            </a:lvl3pPr>
            <a:lvl4pPr>
              <a:defRPr sz="1498"/>
            </a:lvl4pPr>
            <a:lvl5pPr>
              <a:defRPr sz="1498"/>
            </a:lvl5pPr>
            <a:lvl6pPr>
              <a:defRPr sz="1498"/>
            </a:lvl6pPr>
            <a:lvl7pPr>
              <a:defRPr sz="1498"/>
            </a:lvl7pPr>
            <a:lvl8pPr>
              <a:defRPr sz="1498"/>
            </a:lvl8pPr>
            <a:lvl9pPr>
              <a:defRPr sz="1498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591399"/>
            <a:ext cx="4788000" cy="4525963"/>
          </a:xfrm>
        </p:spPr>
        <p:txBody>
          <a:bodyPr/>
          <a:lstStyle>
            <a:lvl1pPr>
              <a:defRPr sz="1996"/>
            </a:lvl1pPr>
            <a:lvl2pPr>
              <a:defRPr sz="1832"/>
            </a:lvl2pPr>
            <a:lvl3pPr>
              <a:defRPr sz="1664"/>
            </a:lvl3pPr>
            <a:lvl4pPr>
              <a:defRPr sz="1498"/>
            </a:lvl4pPr>
            <a:lvl5pPr>
              <a:defRPr sz="1498"/>
            </a:lvl5pPr>
            <a:lvl6pPr>
              <a:defRPr sz="1498"/>
            </a:lvl6pPr>
            <a:lvl7pPr>
              <a:defRPr sz="1498"/>
            </a:lvl7pPr>
            <a:lvl8pPr>
              <a:defRPr sz="1498"/>
            </a:lvl8pPr>
            <a:lvl9pPr>
              <a:defRPr sz="1498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</p:txBody>
      </p:sp>
      <p:sp>
        <p:nvSpPr>
          <p:cNvPr id="13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0208408" y="6314400"/>
            <a:ext cx="1002147" cy="216000"/>
          </a:xfrm>
          <a:prstGeom prst="rect">
            <a:avLst/>
          </a:prstGeom>
        </p:spPr>
        <p:txBody>
          <a:bodyPr lIns="72000"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A2BD35D-A3E1-4509-A475-9B35C4AA3138}" type="datetime4">
              <a:rPr lang="nb-NO" smtClean="0"/>
              <a:t>3. februar 2018</a:t>
            </a:fld>
            <a:endParaRPr lang="nb-NO" dirty="0"/>
          </a:p>
        </p:txBody>
      </p:sp>
      <p:sp>
        <p:nvSpPr>
          <p:cNvPr id="1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475821" y="6314400"/>
            <a:ext cx="5688632" cy="216000"/>
          </a:xfrm>
          <a:prstGeom prst="rect">
            <a:avLst/>
          </a:prstGeom>
        </p:spPr>
        <p:txBody>
          <a:bodyPr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nb-NO" dirty="0" smtClean="0"/>
              <a:t>Tittel på presentasjonen</a:t>
            </a:r>
            <a:endParaRPr lang="nb-NO" dirty="0"/>
          </a:p>
        </p:txBody>
      </p:sp>
      <p:sp>
        <p:nvSpPr>
          <p:cNvPr id="1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244986" y="6314400"/>
            <a:ext cx="503642" cy="216000"/>
          </a:xfrm>
          <a:prstGeom prst="rect">
            <a:avLst/>
          </a:prstGeom>
        </p:spPr>
        <p:txBody>
          <a:bodyPr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/>
              <a:pPr>
                <a:defRPr/>
              </a:pPr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68204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kmål Sluttside Alt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25265"/>
          <a:stretch/>
        </p:blipFill>
        <p:spPr>
          <a:xfrm>
            <a:off x="5375920" y="1347859"/>
            <a:ext cx="6816080" cy="5498652"/>
          </a:xfrm>
          <a:prstGeom prst="rect">
            <a:avLst/>
          </a:prstGeom>
        </p:spPr>
      </p:pic>
      <p:sp>
        <p:nvSpPr>
          <p:cNvPr id="8" name="TekstSylinder 7"/>
          <p:cNvSpPr txBox="1"/>
          <p:nvPr userDrawn="1"/>
        </p:nvSpPr>
        <p:spPr>
          <a:xfrm>
            <a:off x="5" y="-268287"/>
            <a:ext cx="3983567" cy="24590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indent="0" algn="l" defTabSz="7605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nb-NO" sz="998" dirty="0" smtClean="0"/>
              <a:t>Bokmål </a:t>
            </a:r>
            <a:r>
              <a:rPr lang="nb-NO" sz="998" dirty="0"/>
              <a:t>mal: </a:t>
            </a:r>
            <a:r>
              <a:rPr lang="nb-NO" sz="998" dirty="0" smtClean="0"/>
              <a:t>Sluttside Alternativ</a:t>
            </a:r>
            <a:r>
              <a:rPr lang="nb-NO" sz="998" baseline="0" dirty="0" smtClean="0"/>
              <a:t> 1</a:t>
            </a:r>
            <a:endParaRPr lang="nb-NO" sz="998" dirty="0" smtClean="0"/>
          </a:p>
        </p:txBody>
      </p:sp>
      <p:cxnSp>
        <p:nvCxnSpPr>
          <p:cNvPr id="19" name="Rett linje 18"/>
          <p:cNvCxnSpPr/>
          <p:nvPr userDrawn="1"/>
        </p:nvCxnSpPr>
        <p:spPr>
          <a:xfrm>
            <a:off x="1062506" y="368664"/>
            <a:ext cx="0" cy="3262455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Plassholder for tekst 34"/>
          <p:cNvSpPr>
            <a:spLocks noGrp="1"/>
          </p:cNvSpPr>
          <p:nvPr>
            <p:ph type="body" sz="quarter" idx="17" hasCustomPrompt="1"/>
          </p:nvPr>
        </p:nvSpPr>
        <p:spPr>
          <a:xfrm>
            <a:off x="1199456" y="2384596"/>
            <a:ext cx="9792000" cy="871303"/>
          </a:xfrm>
        </p:spPr>
        <p:txBody>
          <a:bodyPr lIns="0" anchor="t" anchorCtr="0"/>
          <a:lstStyle>
            <a:lvl1pPr marL="0" indent="0">
              <a:buNone/>
              <a:defRPr sz="1166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dirty="0" smtClean="0"/>
              <a:t>Bildekreditering: Slide X: </a:t>
            </a:r>
            <a:r>
              <a:rPr lang="nb-NO" sz="1080" dirty="0" smtClean="0"/>
              <a:t>© </a:t>
            </a:r>
            <a:r>
              <a:rPr lang="nb-NO" dirty="0" smtClean="0"/>
              <a:t>Fotografens navn, Bildebyrå</a:t>
            </a:r>
          </a:p>
        </p:txBody>
      </p:sp>
      <p:sp>
        <p:nvSpPr>
          <p:cNvPr id="13" name="Plassholder for tekst 4"/>
          <p:cNvSpPr>
            <a:spLocks noGrp="1"/>
          </p:cNvSpPr>
          <p:nvPr>
            <p:ph type="body" sz="quarter" idx="20" hasCustomPrompt="1"/>
          </p:nvPr>
        </p:nvSpPr>
        <p:spPr>
          <a:xfrm>
            <a:off x="1198800" y="1124745"/>
            <a:ext cx="9792000" cy="1144800"/>
          </a:xfrm>
        </p:spPr>
        <p:txBody>
          <a:bodyPr lIns="0" anchor="b" anchorCtr="0"/>
          <a:lstStyle>
            <a:lvl1pPr marL="0" indent="0">
              <a:buNone/>
              <a:defRPr sz="2662" b="1">
                <a:solidFill>
                  <a:srgbClr val="000000"/>
                </a:solidFill>
              </a:defRPr>
            </a:lvl1pPr>
          </a:lstStyle>
          <a:p>
            <a:pPr lvl="0"/>
            <a:r>
              <a:rPr lang="nb-NO" dirty="0" smtClean="0"/>
              <a:t>Takk for oppmerksomheten!</a:t>
            </a:r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6" y="527253"/>
            <a:ext cx="298705" cy="362714"/>
          </a:xfrm>
          <a:prstGeom prst="rect">
            <a:avLst/>
          </a:prstGeom>
        </p:spPr>
      </p:pic>
      <p:sp>
        <p:nvSpPr>
          <p:cNvPr id="11" name="TekstSylinder 10"/>
          <p:cNvSpPr txBox="1"/>
          <p:nvPr userDrawn="1"/>
        </p:nvSpPr>
        <p:spPr>
          <a:xfrm>
            <a:off x="1111501" y="467150"/>
            <a:ext cx="4660464" cy="391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nb-NO" sz="1080" noProof="0" dirty="0" smtClean="0"/>
              <a:t>Kommunal- og</a:t>
            </a:r>
            <a:br>
              <a:rPr lang="nb-NO" sz="1080" noProof="0" dirty="0" smtClean="0"/>
            </a:br>
            <a:r>
              <a:rPr lang="nb-NO" sz="1080" noProof="0" dirty="0" smtClean="0"/>
              <a:t>moderniseringsdepartementet</a:t>
            </a:r>
            <a:endParaRPr lang="nb-NO" sz="1080" noProof="0" dirty="0"/>
          </a:p>
        </p:txBody>
      </p:sp>
    </p:spTree>
    <p:extLst>
      <p:ext uri="{BB962C8B-B14F-4D97-AF65-F5344CB8AC3E}">
        <p14:creationId xmlns:p14="http://schemas.microsoft.com/office/powerpoint/2010/main" val="859729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kmålk Sluttside Alt 2">
    <p:bg>
      <p:bgPr>
        <a:gradFill>
          <a:gsLst>
            <a:gs pos="20000">
              <a:schemeClr val="bg2"/>
            </a:gs>
            <a:gs pos="83000">
              <a:schemeClr val="tx2"/>
            </a:gs>
          </a:gsLst>
          <a:lin ang="3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4867"/>
          <a:stretch/>
        </p:blipFill>
        <p:spPr>
          <a:xfrm>
            <a:off x="5375920" y="1369498"/>
            <a:ext cx="6816080" cy="5469515"/>
          </a:xfrm>
          <a:prstGeom prst="rect">
            <a:avLst/>
          </a:prstGeom>
        </p:spPr>
      </p:pic>
      <p:sp>
        <p:nvSpPr>
          <p:cNvPr id="8" name="TekstSylinder 7"/>
          <p:cNvSpPr txBox="1"/>
          <p:nvPr userDrawn="1"/>
        </p:nvSpPr>
        <p:spPr>
          <a:xfrm>
            <a:off x="5" y="-268287"/>
            <a:ext cx="3983567" cy="24590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indent="0" algn="l" defTabSz="7605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nb-NO" sz="998" dirty="0" smtClean="0"/>
              <a:t>Bokmål </a:t>
            </a:r>
            <a:r>
              <a:rPr lang="nb-NO" sz="998" dirty="0"/>
              <a:t>mal: </a:t>
            </a:r>
            <a:r>
              <a:rPr lang="nb-NO" sz="998" dirty="0" smtClean="0"/>
              <a:t>Sluttside Alternativ</a:t>
            </a:r>
            <a:r>
              <a:rPr lang="nb-NO" sz="998" baseline="0" dirty="0" smtClean="0"/>
              <a:t> 2</a:t>
            </a:r>
            <a:r>
              <a:rPr lang="nb-NO" sz="998" dirty="0" smtClean="0"/>
              <a:t> </a:t>
            </a:r>
            <a:endParaRPr lang="nb-NO" sz="998" dirty="0"/>
          </a:p>
        </p:txBody>
      </p:sp>
      <p:cxnSp>
        <p:nvCxnSpPr>
          <p:cNvPr id="19" name="Rett linje 18"/>
          <p:cNvCxnSpPr/>
          <p:nvPr userDrawn="1"/>
        </p:nvCxnSpPr>
        <p:spPr>
          <a:xfrm>
            <a:off x="1062506" y="368664"/>
            <a:ext cx="0" cy="3262455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Plassholder for tekst 34"/>
          <p:cNvSpPr>
            <a:spLocks noGrp="1"/>
          </p:cNvSpPr>
          <p:nvPr>
            <p:ph type="body" sz="quarter" idx="17" hasCustomPrompt="1"/>
          </p:nvPr>
        </p:nvSpPr>
        <p:spPr>
          <a:xfrm>
            <a:off x="1199456" y="2384596"/>
            <a:ext cx="9792000" cy="871303"/>
          </a:xfrm>
        </p:spPr>
        <p:txBody>
          <a:bodyPr lIns="0" anchor="t" anchorCtr="0"/>
          <a:lstStyle>
            <a:lvl1pPr marL="0" indent="0">
              <a:buNone/>
              <a:defRPr sz="1166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dirty="0" smtClean="0"/>
              <a:t>Bildekreditering: Slide X: </a:t>
            </a:r>
            <a:r>
              <a:rPr lang="nb-NO" sz="1080" dirty="0" smtClean="0"/>
              <a:t>© </a:t>
            </a:r>
            <a:r>
              <a:rPr lang="nb-NO" dirty="0" smtClean="0"/>
              <a:t>Fotografens navn, Bildebyrå</a:t>
            </a:r>
          </a:p>
        </p:txBody>
      </p:sp>
      <p:sp>
        <p:nvSpPr>
          <p:cNvPr id="13" name="Plassholder for tekst 4"/>
          <p:cNvSpPr>
            <a:spLocks noGrp="1"/>
          </p:cNvSpPr>
          <p:nvPr>
            <p:ph type="body" sz="quarter" idx="20" hasCustomPrompt="1"/>
          </p:nvPr>
        </p:nvSpPr>
        <p:spPr>
          <a:xfrm>
            <a:off x="1198800" y="1124745"/>
            <a:ext cx="9792000" cy="1144800"/>
          </a:xfrm>
        </p:spPr>
        <p:txBody>
          <a:bodyPr lIns="0" anchor="b" anchorCtr="0"/>
          <a:lstStyle>
            <a:lvl1pPr marL="0" indent="0">
              <a:buNone/>
              <a:defRPr sz="2662" b="1">
                <a:solidFill>
                  <a:srgbClr val="000000"/>
                </a:solidFill>
              </a:defRPr>
            </a:lvl1pPr>
          </a:lstStyle>
          <a:p>
            <a:pPr lvl="0"/>
            <a:r>
              <a:rPr lang="nb-NO" dirty="0" smtClean="0"/>
              <a:t>Takk for oppmerksomheten!</a:t>
            </a:r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6" y="527253"/>
            <a:ext cx="298705" cy="362714"/>
          </a:xfrm>
          <a:prstGeom prst="rect">
            <a:avLst/>
          </a:prstGeom>
        </p:spPr>
      </p:pic>
      <p:sp>
        <p:nvSpPr>
          <p:cNvPr id="11" name="TekstSylinder 10"/>
          <p:cNvSpPr txBox="1"/>
          <p:nvPr userDrawn="1"/>
        </p:nvSpPr>
        <p:spPr>
          <a:xfrm>
            <a:off x="1111501" y="467150"/>
            <a:ext cx="4660464" cy="391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nb-NO" sz="1080" noProof="0" dirty="0" smtClean="0"/>
              <a:t>Kommunal- og</a:t>
            </a:r>
            <a:br>
              <a:rPr lang="nb-NO" sz="1080" noProof="0" dirty="0" smtClean="0"/>
            </a:br>
            <a:r>
              <a:rPr lang="nb-NO" sz="1080" noProof="0" dirty="0" smtClean="0"/>
              <a:t>moderniseringsdepartementet</a:t>
            </a:r>
            <a:endParaRPr lang="nb-NO" sz="1080" noProof="0" dirty="0"/>
          </a:p>
        </p:txBody>
      </p:sp>
    </p:spTree>
    <p:extLst>
      <p:ext uri="{BB962C8B-B14F-4D97-AF65-F5344CB8AC3E}">
        <p14:creationId xmlns:p14="http://schemas.microsoft.com/office/powerpoint/2010/main" val="2597754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tel Oppsett m orange bord til 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02" y="1502"/>
          <a:ext cx="15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02" y="1502"/>
                        <a:ext cx="1500" cy="1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8" descr="Orange original_illustrasjon1_stor_H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08" t="21716" r="21440" b="5760"/>
          <a:stretch>
            <a:fillRect/>
          </a:stretch>
        </p:blipFill>
        <p:spPr bwMode="auto">
          <a:xfrm>
            <a:off x="0" y="2300289"/>
            <a:ext cx="12192000" cy="4557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kstSylinder 7"/>
          <p:cNvSpPr txBox="1">
            <a:spLocks noChangeArrowheads="1"/>
          </p:cNvSpPr>
          <p:nvPr userDrawn="1"/>
        </p:nvSpPr>
        <p:spPr bwMode="auto">
          <a:xfrm>
            <a:off x="5" y="-268287"/>
            <a:ext cx="3983567" cy="245901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nb-NO" sz="998" dirty="0" smtClean="0"/>
              <a:t>Norsk mal: Startside</a:t>
            </a:r>
          </a:p>
        </p:txBody>
      </p:sp>
      <p:sp>
        <p:nvSpPr>
          <p:cNvPr id="7" name="TekstSylinder 13"/>
          <p:cNvSpPr txBox="1">
            <a:spLocks noChangeArrowheads="1"/>
          </p:cNvSpPr>
          <p:nvPr userDrawn="1"/>
        </p:nvSpPr>
        <p:spPr bwMode="auto">
          <a:xfrm>
            <a:off x="-2832099" y="4929190"/>
            <a:ext cx="2448982" cy="860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r>
              <a:rPr lang="nb-NO" altLang="nb-NO" sz="998" b="1" dirty="0" smtClean="0"/>
              <a:t>Tips engelsk mal</a:t>
            </a:r>
          </a:p>
          <a:p>
            <a:pPr eaLnBrk="1" hangingPunct="1">
              <a:defRPr/>
            </a:pPr>
            <a:r>
              <a:rPr lang="nb-NO" altLang="nb-NO" sz="998" dirty="0" smtClean="0"/>
              <a:t>Klikk på utformingsfanen og velg DEPMAL – engelsk.</a:t>
            </a:r>
          </a:p>
          <a:p>
            <a:pPr eaLnBrk="1" hangingPunct="1">
              <a:defRPr/>
            </a:pPr>
            <a:r>
              <a:rPr lang="nb-NO" altLang="nb-NO" sz="998" dirty="0" smtClean="0"/>
              <a:t>Eller  velg  DEPMAL– engelsk under </a:t>
            </a:r>
            <a:r>
              <a:rPr lang="nb-NO" altLang="en-US" sz="998" dirty="0" smtClean="0"/>
              <a:t>”</a:t>
            </a:r>
            <a:r>
              <a:rPr lang="nb-NO" altLang="nb-NO" sz="998" dirty="0" smtClean="0"/>
              <a:t>oppsett</a:t>
            </a:r>
            <a:r>
              <a:rPr lang="nb-NO" altLang="en-US" sz="998" dirty="0" smtClean="0"/>
              <a:t>”</a:t>
            </a:r>
            <a:r>
              <a:rPr lang="nb-NO" altLang="nb-NO" sz="998" dirty="0" smtClean="0"/>
              <a:t>.</a:t>
            </a:r>
          </a:p>
        </p:txBody>
      </p:sp>
      <p:pic>
        <p:nvPicPr>
          <p:cNvPr id="8" name="Picture 12" descr="KMD2CB80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189" y="619127"/>
            <a:ext cx="3839633" cy="973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58851" y="2057405"/>
            <a:ext cx="10176934" cy="1227583"/>
          </a:xfrm>
        </p:spPr>
        <p:txBody>
          <a:bodyPr/>
          <a:lstStyle>
            <a:lvl1pPr algn="ctr">
              <a:defRPr baseline="0">
                <a:solidFill>
                  <a:schemeClr val="accent6"/>
                </a:solidFill>
              </a:defRPr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958851" y="3429001"/>
            <a:ext cx="10176934" cy="370892"/>
          </a:xfrm>
        </p:spPr>
        <p:txBody>
          <a:bodyPr/>
          <a:lstStyle>
            <a:lvl1pPr marL="0" indent="0" algn="ctr">
              <a:buNone/>
              <a:defRPr sz="1664" baseline="0">
                <a:solidFill>
                  <a:schemeClr val="accent4"/>
                </a:solidFill>
              </a:defRPr>
            </a:lvl1pPr>
            <a:lvl2pPr marL="3802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05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08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11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1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1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20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2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subtitle</a:t>
            </a:r>
            <a:r>
              <a:rPr lang="nb-NO" dirty="0" smtClean="0"/>
              <a:t> style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/>
          </p:nvPr>
        </p:nvSpPr>
        <p:spPr>
          <a:xfrm>
            <a:off x="958851" y="5840264"/>
            <a:ext cx="10176934" cy="323852"/>
          </a:xfrm>
        </p:spPr>
        <p:txBody>
          <a:bodyPr/>
          <a:lstStyle>
            <a:lvl1pPr algn="ctr">
              <a:buNone/>
              <a:defRPr sz="998" baseline="0">
                <a:solidFill>
                  <a:srgbClr val="003057"/>
                </a:solidFill>
              </a:defRPr>
            </a:lvl1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10" name="Plassholder for dato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420729-F69D-43A9-AAB5-FE233D6CF6B4}" type="datetime4">
              <a:rPr lang="nb-NO"/>
              <a:pPr>
                <a:defRPr/>
              </a:pPr>
              <a:t>3. februar 2018</a:t>
            </a:fld>
            <a:endParaRPr lang="nb-NO" dirty="0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/>
              <a:t>Tittel på presentasjon</a:t>
            </a:r>
          </a:p>
        </p:txBody>
      </p:sp>
      <p:sp>
        <p:nvSpPr>
          <p:cNvPr id="12" name="Plassholder for lysbilde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C29D01-73FE-468C-9871-659F115D7637}" type="slidenum">
              <a:rPr lang="nb-NO" altLang="nb-NO"/>
              <a:pPr>
                <a:defRPr/>
              </a:pPr>
              <a:t>‹#›</a:t>
            </a:fld>
            <a:endParaRPr lang="nb-NO" altLang="nb-NO" dirty="0"/>
          </a:p>
        </p:txBody>
      </p:sp>
    </p:spTree>
    <p:extLst>
      <p:ext uri="{BB962C8B-B14F-4D97-AF65-F5344CB8AC3E}">
        <p14:creationId xmlns:p14="http://schemas.microsoft.com/office/powerpoint/2010/main" val="923996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kmål Startside Alt 2">
    <p:bg>
      <p:bgPr>
        <a:gradFill>
          <a:gsLst>
            <a:gs pos="20000">
              <a:schemeClr val="bg2"/>
            </a:gs>
            <a:gs pos="83000">
              <a:schemeClr val="tx2"/>
            </a:gs>
          </a:gsLst>
          <a:lin ang="3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4867"/>
          <a:stretch/>
        </p:blipFill>
        <p:spPr>
          <a:xfrm>
            <a:off x="5375920" y="1369498"/>
            <a:ext cx="6816080" cy="5469515"/>
          </a:xfrm>
          <a:prstGeom prst="rect">
            <a:avLst/>
          </a:prstGeom>
        </p:spPr>
      </p:pic>
      <p:sp>
        <p:nvSpPr>
          <p:cNvPr id="8" name="TekstSylinder 7"/>
          <p:cNvSpPr txBox="1"/>
          <p:nvPr userDrawn="1"/>
        </p:nvSpPr>
        <p:spPr>
          <a:xfrm>
            <a:off x="5" y="-268287"/>
            <a:ext cx="3983567" cy="24590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nb-NO" sz="998" dirty="0" smtClean="0"/>
              <a:t>Bokmål </a:t>
            </a:r>
            <a:r>
              <a:rPr lang="nb-NO" sz="998" dirty="0"/>
              <a:t>mal: </a:t>
            </a:r>
            <a:r>
              <a:rPr lang="nb-NO" sz="998" dirty="0" smtClean="0"/>
              <a:t>Startside Alternativ 2</a:t>
            </a:r>
            <a:endParaRPr lang="nb-NO" sz="998" dirty="0"/>
          </a:p>
        </p:txBody>
      </p:sp>
      <p:cxnSp>
        <p:nvCxnSpPr>
          <p:cNvPr id="19" name="Rett linje 18"/>
          <p:cNvCxnSpPr/>
          <p:nvPr userDrawn="1"/>
        </p:nvCxnSpPr>
        <p:spPr>
          <a:xfrm>
            <a:off x="1062506" y="368664"/>
            <a:ext cx="0" cy="3262455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Plassholder for tekst 34"/>
          <p:cNvSpPr>
            <a:spLocks noGrp="1"/>
          </p:cNvSpPr>
          <p:nvPr>
            <p:ph type="body" sz="quarter" idx="17" hasCustomPrompt="1"/>
          </p:nvPr>
        </p:nvSpPr>
        <p:spPr>
          <a:xfrm>
            <a:off x="1199456" y="2384594"/>
            <a:ext cx="9792000" cy="288000"/>
          </a:xfrm>
        </p:spPr>
        <p:txBody>
          <a:bodyPr lIns="0" anchor="ctr" anchorCtr="0"/>
          <a:lstStyle>
            <a:lvl1pPr marL="0" indent="0">
              <a:buNone/>
              <a:defRPr sz="1166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dirty="0" smtClean="0"/>
              <a:t>Navn Foredragsholder</a:t>
            </a:r>
          </a:p>
        </p:txBody>
      </p:sp>
      <p:sp>
        <p:nvSpPr>
          <p:cNvPr id="39" name="Plassholder for tekst 38"/>
          <p:cNvSpPr>
            <a:spLocks noGrp="1"/>
          </p:cNvSpPr>
          <p:nvPr>
            <p:ph type="body" sz="quarter" idx="18" hasCustomPrompt="1"/>
          </p:nvPr>
        </p:nvSpPr>
        <p:spPr>
          <a:xfrm>
            <a:off x="1199456" y="2744926"/>
            <a:ext cx="9792000" cy="288000"/>
          </a:xfrm>
        </p:spPr>
        <p:txBody>
          <a:bodyPr lIns="0" anchor="ctr" anchorCtr="0"/>
          <a:lstStyle>
            <a:lvl1pPr marL="0" indent="0">
              <a:buNone/>
              <a:defRPr sz="1166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dirty="0" smtClean="0"/>
              <a:t>Sted, dato</a:t>
            </a:r>
          </a:p>
        </p:txBody>
      </p:sp>
      <p:sp>
        <p:nvSpPr>
          <p:cNvPr id="11" name="Plassholder for tekst 4"/>
          <p:cNvSpPr>
            <a:spLocks noGrp="1"/>
          </p:cNvSpPr>
          <p:nvPr>
            <p:ph type="body" sz="quarter" idx="20" hasCustomPrompt="1"/>
          </p:nvPr>
        </p:nvSpPr>
        <p:spPr>
          <a:xfrm>
            <a:off x="1198800" y="1124745"/>
            <a:ext cx="9792000" cy="1144800"/>
          </a:xfrm>
        </p:spPr>
        <p:txBody>
          <a:bodyPr lIns="0" anchor="b" anchorCtr="0"/>
          <a:lstStyle>
            <a:lvl1pPr marL="0" indent="0">
              <a:buNone/>
              <a:defRPr sz="2662" b="1">
                <a:solidFill>
                  <a:srgbClr val="000000"/>
                </a:solidFill>
              </a:defRPr>
            </a:lvl1pPr>
          </a:lstStyle>
          <a:p>
            <a:pPr lvl="0"/>
            <a:r>
              <a:rPr lang="nb-NO" dirty="0" smtClean="0"/>
              <a:t>Presentasjonstittel</a:t>
            </a:r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6" y="527253"/>
            <a:ext cx="298705" cy="362714"/>
          </a:xfrm>
          <a:prstGeom prst="rect">
            <a:avLst/>
          </a:prstGeom>
        </p:spPr>
      </p:pic>
      <p:sp>
        <p:nvSpPr>
          <p:cNvPr id="12" name="TekstSylinder 11"/>
          <p:cNvSpPr txBox="1"/>
          <p:nvPr userDrawn="1"/>
        </p:nvSpPr>
        <p:spPr>
          <a:xfrm>
            <a:off x="1111501" y="467150"/>
            <a:ext cx="4660464" cy="391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nb-NO" sz="1080" noProof="0" dirty="0" smtClean="0"/>
              <a:t>Kommunal- og</a:t>
            </a:r>
            <a:br>
              <a:rPr lang="nb-NO" sz="1080" noProof="0" dirty="0" smtClean="0"/>
            </a:br>
            <a:r>
              <a:rPr lang="nb-NO" sz="1080" noProof="0" dirty="0" smtClean="0"/>
              <a:t>moderniseringsdepartementet</a:t>
            </a:r>
            <a:endParaRPr lang="nb-NO" sz="1080" noProof="0" dirty="0"/>
          </a:p>
        </p:txBody>
      </p:sp>
    </p:spTree>
    <p:extLst>
      <p:ext uri="{BB962C8B-B14F-4D97-AF65-F5344CB8AC3E}">
        <p14:creationId xmlns:p14="http://schemas.microsoft.com/office/powerpoint/2010/main" val="2394956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kmål Startside m eget bil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bilde 3"/>
          <p:cNvSpPr>
            <a:spLocks noGrp="1"/>
          </p:cNvSpPr>
          <p:nvPr>
            <p:ph type="pic" sz="quarter" idx="21" hasCustomPrompt="1"/>
          </p:nvPr>
        </p:nvSpPr>
        <p:spPr>
          <a:xfrm>
            <a:off x="0" y="3271953"/>
            <a:ext cx="12192000" cy="3586048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98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nb-NO" dirty="0" smtClean="0"/>
              <a:t>Klikk ikonet for å legge til bilde</a:t>
            </a:r>
            <a:endParaRPr lang="nb-NO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20" hasCustomPrompt="1"/>
          </p:nvPr>
        </p:nvSpPr>
        <p:spPr>
          <a:xfrm>
            <a:off x="1198800" y="1124745"/>
            <a:ext cx="9792000" cy="1144800"/>
          </a:xfrm>
        </p:spPr>
        <p:txBody>
          <a:bodyPr lIns="0" anchor="b" anchorCtr="0"/>
          <a:lstStyle>
            <a:lvl1pPr marL="0" indent="0">
              <a:buNone/>
              <a:defRPr sz="2662" b="1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 smtClean="0"/>
              <a:t>Presentasjonstittel</a:t>
            </a:r>
          </a:p>
        </p:txBody>
      </p:sp>
      <p:sp>
        <p:nvSpPr>
          <p:cNvPr id="8" name="TekstSylinder 7"/>
          <p:cNvSpPr txBox="1"/>
          <p:nvPr userDrawn="1"/>
        </p:nvSpPr>
        <p:spPr>
          <a:xfrm>
            <a:off x="5" y="-268287"/>
            <a:ext cx="3983567" cy="24590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nb-NO" sz="998" dirty="0" smtClean="0"/>
              <a:t>Bokmål </a:t>
            </a:r>
            <a:r>
              <a:rPr lang="nb-NO" sz="998" dirty="0"/>
              <a:t>mal: </a:t>
            </a:r>
            <a:r>
              <a:rPr lang="nb-NO" sz="998" dirty="0" smtClean="0"/>
              <a:t>Startside</a:t>
            </a:r>
            <a:r>
              <a:rPr lang="nb-NO" sz="998" baseline="0" dirty="0" smtClean="0"/>
              <a:t> – sett inn eget bilde</a:t>
            </a:r>
            <a:endParaRPr lang="nb-NO" sz="998" dirty="0"/>
          </a:p>
        </p:txBody>
      </p:sp>
      <p:sp>
        <p:nvSpPr>
          <p:cNvPr id="35" name="Plassholder for tekst 34"/>
          <p:cNvSpPr>
            <a:spLocks noGrp="1"/>
          </p:cNvSpPr>
          <p:nvPr>
            <p:ph type="body" sz="quarter" idx="17" hasCustomPrompt="1"/>
          </p:nvPr>
        </p:nvSpPr>
        <p:spPr>
          <a:xfrm>
            <a:off x="1199456" y="2384594"/>
            <a:ext cx="9792000" cy="288000"/>
          </a:xfrm>
        </p:spPr>
        <p:txBody>
          <a:bodyPr lIns="0" anchor="ctr" anchorCtr="0"/>
          <a:lstStyle>
            <a:lvl1pPr marL="0" indent="0">
              <a:buNone/>
              <a:defRPr sz="1166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dirty="0" smtClean="0"/>
              <a:t>Navn Foredragsholder</a:t>
            </a:r>
          </a:p>
        </p:txBody>
      </p:sp>
      <p:sp>
        <p:nvSpPr>
          <p:cNvPr id="39" name="Plassholder for tekst 38"/>
          <p:cNvSpPr>
            <a:spLocks noGrp="1"/>
          </p:cNvSpPr>
          <p:nvPr>
            <p:ph type="body" sz="quarter" idx="18" hasCustomPrompt="1"/>
          </p:nvPr>
        </p:nvSpPr>
        <p:spPr>
          <a:xfrm>
            <a:off x="1199456" y="2744926"/>
            <a:ext cx="9792000" cy="288000"/>
          </a:xfrm>
        </p:spPr>
        <p:txBody>
          <a:bodyPr lIns="0" anchor="ctr" anchorCtr="0"/>
          <a:lstStyle>
            <a:lvl1pPr marL="0" indent="0">
              <a:buNone/>
              <a:defRPr sz="1166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dirty="0" smtClean="0"/>
              <a:t>Sted, dato</a:t>
            </a:r>
          </a:p>
        </p:txBody>
      </p:sp>
      <p:sp>
        <p:nvSpPr>
          <p:cNvPr id="11" name="Plassholder for tekst 4"/>
          <p:cNvSpPr>
            <a:spLocks noGrp="1"/>
          </p:cNvSpPr>
          <p:nvPr>
            <p:ph type="body" sz="quarter" idx="22" hasCustomPrompt="1"/>
          </p:nvPr>
        </p:nvSpPr>
        <p:spPr>
          <a:xfrm>
            <a:off x="1054800" y="368660"/>
            <a:ext cx="18000" cy="32616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4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 smtClean="0"/>
              <a:t> 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6" y="527253"/>
            <a:ext cx="298705" cy="362714"/>
          </a:xfrm>
          <a:prstGeom prst="rect">
            <a:avLst/>
          </a:prstGeom>
        </p:spPr>
      </p:pic>
      <p:sp>
        <p:nvSpPr>
          <p:cNvPr id="13" name="TekstSylinder 12"/>
          <p:cNvSpPr txBox="1"/>
          <p:nvPr userDrawn="1"/>
        </p:nvSpPr>
        <p:spPr>
          <a:xfrm>
            <a:off x="1111501" y="467150"/>
            <a:ext cx="4660464" cy="391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nb-NO" sz="1080" noProof="0" dirty="0" smtClean="0"/>
              <a:t>Kommunal- og</a:t>
            </a:r>
            <a:br>
              <a:rPr lang="nb-NO" sz="1080" noProof="0" dirty="0" smtClean="0"/>
            </a:br>
            <a:r>
              <a:rPr lang="nb-NO" sz="1080" noProof="0" dirty="0" smtClean="0"/>
              <a:t>moderniseringsdepartementet</a:t>
            </a:r>
            <a:endParaRPr lang="nb-NO" sz="1080" noProof="0" dirty="0"/>
          </a:p>
        </p:txBody>
      </p:sp>
    </p:spTree>
    <p:extLst>
      <p:ext uri="{BB962C8B-B14F-4D97-AF65-F5344CB8AC3E}">
        <p14:creationId xmlns:p14="http://schemas.microsoft.com/office/powerpoint/2010/main" val="3817633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kmål Kapittel/tema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20" hasCustomPrompt="1"/>
          </p:nvPr>
        </p:nvSpPr>
        <p:spPr>
          <a:xfrm>
            <a:off x="0" y="3271953"/>
            <a:ext cx="12192000" cy="3586048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98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nb-NO" dirty="0" smtClean="0"/>
              <a:t>Klikk ikonet for å legge til bilde</a:t>
            </a:r>
            <a:endParaRPr lang="nb-NO" dirty="0"/>
          </a:p>
        </p:txBody>
      </p:sp>
      <p:sp>
        <p:nvSpPr>
          <p:cNvPr id="8" name="TekstSylinder 7"/>
          <p:cNvSpPr txBox="1"/>
          <p:nvPr userDrawn="1"/>
        </p:nvSpPr>
        <p:spPr>
          <a:xfrm>
            <a:off x="5" y="-268287"/>
            <a:ext cx="3983567" cy="24590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nb-NO" sz="998" dirty="0" smtClean="0"/>
              <a:t>Bokmål </a:t>
            </a:r>
            <a:r>
              <a:rPr lang="nb-NO" sz="998" dirty="0"/>
              <a:t>mal: </a:t>
            </a:r>
            <a:r>
              <a:rPr lang="nb-NO" sz="998" dirty="0" smtClean="0"/>
              <a:t>Kapittel /</a:t>
            </a:r>
            <a:r>
              <a:rPr lang="nb-NO" sz="998" baseline="0" dirty="0" smtClean="0"/>
              <a:t> Temaside</a:t>
            </a:r>
            <a:endParaRPr lang="nb-NO" sz="998" dirty="0"/>
          </a:p>
        </p:txBody>
      </p:sp>
      <p:sp>
        <p:nvSpPr>
          <p:cNvPr id="13" name="Plassholder for tekst 4"/>
          <p:cNvSpPr>
            <a:spLocks noGrp="1"/>
          </p:cNvSpPr>
          <p:nvPr>
            <p:ph type="body" sz="quarter" idx="21" hasCustomPrompt="1"/>
          </p:nvPr>
        </p:nvSpPr>
        <p:spPr>
          <a:xfrm>
            <a:off x="1198800" y="1124745"/>
            <a:ext cx="9792000" cy="1144800"/>
          </a:xfrm>
        </p:spPr>
        <p:txBody>
          <a:bodyPr lIns="0" anchor="b" anchorCtr="0"/>
          <a:lstStyle>
            <a:lvl1pPr marL="0" indent="0">
              <a:buNone/>
              <a:defRPr sz="2662" b="1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 smtClean="0"/>
              <a:t>Kapittel og temaside</a:t>
            </a:r>
          </a:p>
        </p:txBody>
      </p:sp>
      <p:sp>
        <p:nvSpPr>
          <p:cNvPr id="15" name="Plassholder for tekst 4"/>
          <p:cNvSpPr>
            <a:spLocks noGrp="1"/>
          </p:cNvSpPr>
          <p:nvPr>
            <p:ph type="body" sz="quarter" idx="22" hasCustomPrompt="1"/>
          </p:nvPr>
        </p:nvSpPr>
        <p:spPr>
          <a:xfrm>
            <a:off x="1054800" y="368660"/>
            <a:ext cx="18000" cy="32616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14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 smtClean="0"/>
              <a:t> </a:t>
            </a:r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6" y="527253"/>
            <a:ext cx="298705" cy="362714"/>
          </a:xfrm>
          <a:prstGeom prst="rect">
            <a:avLst/>
          </a:prstGeom>
        </p:spPr>
      </p:pic>
      <p:sp>
        <p:nvSpPr>
          <p:cNvPr id="10" name="TekstSylinder 9"/>
          <p:cNvSpPr txBox="1"/>
          <p:nvPr userDrawn="1"/>
        </p:nvSpPr>
        <p:spPr>
          <a:xfrm>
            <a:off x="1111501" y="467150"/>
            <a:ext cx="4660464" cy="391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nb-NO" sz="1080" noProof="0" dirty="0" smtClean="0"/>
              <a:t>Kommunal- og</a:t>
            </a:r>
            <a:br>
              <a:rPr lang="nb-NO" sz="1080" noProof="0" dirty="0" smtClean="0"/>
            </a:br>
            <a:r>
              <a:rPr lang="nb-NO" sz="1080" noProof="0" dirty="0" smtClean="0"/>
              <a:t>moderniseringsdepartementet</a:t>
            </a:r>
            <a:endParaRPr lang="nb-NO" sz="1080" noProof="0" dirty="0"/>
          </a:p>
        </p:txBody>
      </p:sp>
    </p:spTree>
    <p:extLst>
      <p:ext uri="{BB962C8B-B14F-4D97-AF65-F5344CB8AC3E}">
        <p14:creationId xmlns:p14="http://schemas.microsoft.com/office/powerpoint/2010/main" val="4030786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okmål TEKST MED KULE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02" y="1502"/>
          <a:ext cx="15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02" y="1502"/>
                        <a:ext cx="1500" cy="1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98955" y="296652"/>
            <a:ext cx="9793225" cy="1143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198955" y="1592797"/>
            <a:ext cx="9793225" cy="45259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0208408" y="6314400"/>
            <a:ext cx="1002147" cy="216000"/>
          </a:xfrm>
          <a:prstGeom prst="rect">
            <a:avLst/>
          </a:prstGeom>
        </p:spPr>
        <p:txBody>
          <a:bodyPr lIns="72000"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A2BD35D-A3E1-4509-A475-9B35C4AA3138}" type="datetime4">
              <a:rPr lang="nb-NO" smtClean="0"/>
              <a:t>3. februar 2018</a:t>
            </a:fld>
            <a:endParaRPr lang="nb-NO" dirty="0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475821" y="6314400"/>
            <a:ext cx="5688632" cy="216000"/>
          </a:xfrm>
          <a:prstGeom prst="rect">
            <a:avLst/>
          </a:prstGeom>
        </p:spPr>
        <p:txBody>
          <a:bodyPr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nb-NO" dirty="0" smtClean="0"/>
              <a:t>Tittel på presentasjonen</a:t>
            </a:r>
            <a:endParaRPr lang="nb-NO" dirty="0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244986" y="6314400"/>
            <a:ext cx="503642" cy="216000"/>
          </a:xfrm>
          <a:prstGeom prst="rect">
            <a:avLst/>
          </a:prstGeom>
        </p:spPr>
        <p:txBody>
          <a:bodyPr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/>
              <a:pPr>
                <a:defRPr/>
              </a:pPr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148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kmål TEKST UTEN KULE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Sylinder 3"/>
          <p:cNvSpPr txBox="1"/>
          <p:nvPr userDrawn="1"/>
        </p:nvSpPr>
        <p:spPr>
          <a:xfrm>
            <a:off x="-95249" y="-276224"/>
            <a:ext cx="4366684" cy="24590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nb-NO" sz="998" dirty="0" smtClean="0"/>
              <a:t>Bokmål </a:t>
            </a:r>
            <a:r>
              <a:rPr lang="nb-NO" sz="998" dirty="0"/>
              <a:t>mal: Tekst uten kulepunkter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98800" y="296652"/>
            <a:ext cx="9792000" cy="1143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198800" y="1592797"/>
            <a:ext cx="9792000" cy="4525963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2" name="TekstSylinder 11"/>
          <p:cNvSpPr txBox="1"/>
          <p:nvPr userDrawn="1"/>
        </p:nvSpPr>
        <p:spPr>
          <a:xfrm>
            <a:off x="-2761189" y="4725146"/>
            <a:ext cx="2448983" cy="101373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nb-NO" sz="998" b="1" dirty="0"/>
              <a:t>Tips bunntekst:</a:t>
            </a:r>
          </a:p>
          <a:p>
            <a:pPr>
              <a:defRPr/>
            </a:pPr>
            <a:r>
              <a:rPr lang="nb-NO" sz="998" b="1" dirty="0"/>
              <a:t>For </a:t>
            </a:r>
            <a:r>
              <a:rPr lang="nb-NO" sz="998" b="1" dirty="0" smtClean="0"/>
              <a:t>å få sidenummer</a:t>
            </a:r>
            <a:r>
              <a:rPr lang="nb-NO" sz="998" b="1" dirty="0"/>
              <a:t>, </a:t>
            </a:r>
            <a:r>
              <a:rPr lang="nb-NO" sz="998" b="1" dirty="0" smtClean="0"/>
              <a:t>dato</a:t>
            </a:r>
            <a:r>
              <a:rPr lang="nb-NO" sz="998" b="1" baseline="0" dirty="0" smtClean="0"/>
              <a:t> </a:t>
            </a:r>
            <a:r>
              <a:rPr lang="nb-NO" sz="998" b="1" dirty="0" smtClean="0"/>
              <a:t>og tittel </a:t>
            </a:r>
            <a:r>
              <a:rPr lang="nb-NO" sz="998" b="1" dirty="0"/>
              <a:t>på presentasjon:</a:t>
            </a:r>
          </a:p>
          <a:p>
            <a:pPr>
              <a:defRPr/>
            </a:pPr>
            <a:r>
              <a:rPr lang="nb-NO" sz="998" dirty="0"/>
              <a:t>Klikk  på</a:t>
            </a:r>
          </a:p>
          <a:p>
            <a:pPr>
              <a:defRPr/>
            </a:pPr>
            <a:r>
              <a:rPr lang="nb-NO" sz="998" dirty="0"/>
              <a:t>”Sett Inn” -&gt; Topp og </a:t>
            </a:r>
            <a:r>
              <a:rPr lang="nb-NO" sz="998" dirty="0" smtClean="0"/>
              <a:t>bunntekst</a:t>
            </a:r>
          </a:p>
          <a:p>
            <a:pPr>
              <a:defRPr/>
            </a:pPr>
            <a:r>
              <a:rPr lang="nb-NO" sz="998" baseline="0" dirty="0" smtClean="0"/>
              <a:t>- </a:t>
            </a:r>
            <a:r>
              <a:rPr lang="nb-NO" sz="998" dirty="0" smtClean="0"/>
              <a:t>Huk </a:t>
            </a:r>
            <a:r>
              <a:rPr lang="nb-NO" sz="998" dirty="0"/>
              <a:t>av for ønsket tekst.</a:t>
            </a:r>
          </a:p>
        </p:txBody>
      </p:sp>
      <p:cxnSp>
        <p:nvCxnSpPr>
          <p:cNvPr id="13" name="Vinkel 12"/>
          <p:cNvCxnSpPr/>
          <p:nvPr userDrawn="1"/>
        </p:nvCxnSpPr>
        <p:spPr>
          <a:xfrm>
            <a:off x="-1536697" y="5984877"/>
            <a:ext cx="1104900" cy="647700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0208408" y="6314400"/>
            <a:ext cx="1002147" cy="216000"/>
          </a:xfrm>
          <a:prstGeom prst="rect">
            <a:avLst/>
          </a:prstGeom>
        </p:spPr>
        <p:txBody>
          <a:bodyPr lIns="72000"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A2BD35D-A3E1-4509-A475-9B35C4AA3138}" type="datetime4">
              <a:rPr lang="nb-NO" smtClean="0"/>
              <a:t>3. februar 2018</a:t>
            </a:fld>
            <a:endParaRPr lang="nb-NO" dirty="0"/>
          </a:p>
        </p:txBody>
      </p:sp>
      <p:sp>
        <p:nvSpPr>
          <p:cNvPr id="1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475821" y="6314400"/>
            <a:ext cx="5688632" cy="216000"/>
          </a:xfrm>
          <a:prstGeom prst="rect">
            <a:avLst/>
          </a:prstGeom>
        </p:spPr>
        <p:txBody>
          <a:bodyPr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nb-NO" dirty="0" smtClean="0"/>
              <a:t>Tittel på presentasjonen</a:t>
            </a:r>
            <a:endParaRPr lang="nb-NO" dirty="0"/>
          </a:p>
        </p:txBody>
      </p:sp>
      <p:sp>
        <p:nvSpPr>
          <p:cNvPr id="1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244986" y="6314400"/>
            <a:ext cx="503642" cy="216000"/>
          </a:xfrm>
          <a:prstGeom prst="rect">
            <a:avLst/>
          </a:prstGeom>
        </p:spPr>
        <p:txBody>
          <a:bodyPr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/>
              <a:pPr>
                <a:defRPr/>
              </a:pPr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72775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kmål Tekst med 1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Sylinder 4"/>
          <p:cNvSpPr txBox="1"/>
          <p:nvPr userDrawn="1"/>
        </p:nvSpPr>
        <p:spPr>
          <a:xfrm>
            <a:off x="-95251" y="-304798"/>
            <a:ext cx="10128251" cy="24590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nb-NO" sz="998" dirty="0" smtClean="0"/>
              <a:t>Bokmål </a:t>
            </a:r>
            <a:r>
              <a:rPr lang="nb-NO" sz="998" dirty="0"/>
              <a:t>mal: Tekst med kulepunkter - 1 vertikalt bilde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98803" y="296652"/>
            <a:ext cx="7309959" cy="1143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198802" y="1592797"/>
            <a:ext cx="7309466" cy="4525963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8772000" y="0"/>
            <a:ext cx="3420000" cy="6120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algn="ctr">
              <a:buNone/>
              <a:defRPr sz="8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 smtClean="0"/>
              <a:t>Klikk ikonet for å legge til et bilde</a:t>
            </a:r>
            <a:endParaRPr lang="nb-NO" noProof="0" dirty="0"/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0208408" y="6314400"/>
            <a:ext cx="1002147" cy="216000"/>
          </a:xfrm>
          <a:prstGeom prst="rect">
            <a:avLst/>
          </a:prstGeom>
        </p:spPr>
        <p:txBody>
          <a:bodyPr lIns="72000"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A2BD35D-A3E1-4509-A475-9B35C4AA3138}" type="datetime4">
              <a:rPr lang="nb-NO" smtClean="0"/>
              <a:t>3. februar 2018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475821" y="6314400"/>
            <a:ext cx="5688632" cy="216000"/>
          </a:xfrm>
          <a:prstGeom prst="rect">
            <a:avLst/>
          </a:prstGeom>
        </p:spPr>
        <p:txBody>
          <a:bodyPr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nb-NO" dirty="0" smtClean="0"/>
              <a:t>Tittel på presentasjonen</a:t>
            </a:r>
            <a:endParaRPr lang="nb-NO" dirty="0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244986" y="6314400"/>
            <a:ext cx="503642" cy="216000"/>
          </a:xfrm>
          <a:prstGeom prst="rect">
            <a:avLst/>
          </a:prstGeom>
        </p:spPr>
        <p:txBody>
          <a:bodyPr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/>
              <a:pPr>
                <a:defRPr/>
              </a:pPr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62644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kmål Tekst med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Sylinder 6"/>
          <p:cNvSpPr txBox="1"/>
          <p:nvPr userDrawn="1"/>
        </p:nvSpPr>
        <p:spPr>
          <a:xfrm>
            <a:off x="-95251" y="-304798"/>
            <a:ext cx="10128251" cy="24590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nb-NO" sz="998" dirty="0" smtClean="0"/>
              <a:t>Bokmål </a:t>
            </a:r>
            <a:r>
              <a:rPr lang="nb-NO" sz="998" dirty="0"/>
              <a:t>mal: Tekst med kulepunkter – 3 vertikale bilder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98800" y="296652"/>
            <a:ext cx="7308000" cy="1143000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198800" y="1592797"/>
            <a:ext cx="7308000" cy="4525963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8772000" y="228"/>
            <a:ext cx="3420000" cy="2052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algn="ctr">
              <a:buNone/>
              <a:defRPr sz="8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 smtClean="0"/>
              <a:t>Klikk ikonet for å legge til et bilde</a:t>
            </a:r>
            <a:endParaRPr lang="nb-NO" noProof="0" dirty="0"/>
          </a:p>
        </p:txBody>
      </p:sp>
      <p:sp>
        <p:nvSpPr>
          <p:cNvPr id="9" name="Plassholder for bilde 7"/>
          <p:cNvSpPr>
            <a:spLocks noGrp="1"/>
          </p:cNvSpPr>
          <p:nvPr>
            <p:ph type="pic" sz="quarter" idx="14"/>
          </p:nvPr>
        </p:nvSpPr>
        <p:spPr>
          <a:xfrm>
            <a:off x="8772000" y="2039935"/>
            <a:ext cx="3420000" cy="2052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algn="ctr">
              <a:buNone/>
              <a:defRPr sz="8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 smtClean="0"/>
              <a:t>Klikk ikonet for å legge til et bilde</a:t>
            </a:r>
            <a:endParaRPr lang="nb-NO" noProof="0" dirty="0"/>
          </a:p>
        </p:txBody>
      </p:sp>
      <p:sp>
        <p:nvSpPr>
          <p:cNvPr id="10" name="Plassholder for bilde 7"/>
          <p:cNvSpPr>
            <a:spLocks noGrp="1"/>
          </p:cNvSpPr>
          <p:nvPr>
            <p:ph type="pic" sz="quarter" idx="15"/>
          </p:nvPr>
        </p:nvSpPr>
        <p:spPr>
          <a:xfrm>
            <a:off x="8772000" y="4077300"/>
            <a:ext cx="3420000" cy="2052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algn="ctr">
              <a:buNone/>
              <a:defRPr sz="8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 smtClean="0"/>
              <a:t>Klikk ikonet for å legge til et bilde</a:t>
            </a:r>
            <a:endParaRPr lang="nb-NO" noProof="0" dirty="0" smtClean="0"/>
          </a:p>
        </p:txBody>
      </p:sp>
      <p:sp>
        <p:nvSpPr>
          <p:cNvPr id="14" name="TekstSylinder 13"/>
          <p:cNvSpPr txBox="1"/>
          <p:nvPr userDrawn="1"/>
        </p:nvSpPr>
        <p:spPr>
          <a:xfrm>
            <a:off x="-3073399" y="5299079"/>
            <a:ext cx="2688166" cy="5530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nb-NO" sz="998" b="1" dirty="0"/>
              <a:t>Tips  bilde:</a:t>
            </a:r>
          </a:p>
          <a:p>
            <a:pPr>
              <a:defRPr/>
            </a:pPr>
            <a:r>
              <a:rPr lang="nb-NO" sz="998" dirty="0"/>
              <a:t>For best oppløsning </a:t>
            </a:r>
            <a:r>
              <a:rPr lang="nb-NO" sz="998" dirty="0" smtClean="0"/>
              <a:t>anbefales </a:t>
            </a:r>
            <a:r>
              <a:rPr lang="nb-NO" sz="998" dirty="0" err="1"/>
              <a:t>j</a:t>
            </a:r>
            <a:r>
              <a:rPr lang="nb-NO" sz="998" dirty="0" err="1" smtClean="0"/>
              <a:t>pg</a:t>
            </a:r>
            <a:r>
              <a:rPr lang="nb-NO" sz="998" dirty="0" smtClean="0"/>
              <a:t> </a:t>
            </a:r>
            <a:r>
              <a:rPr lang="nb-NO" sz="998" dirty="0"/>
              <a:t>og </a:t>
            </a:r>
            <a:r>
              <a:rPr lang="nb-NO" sz="998" dirty="0" err="1" smtClean="0"/>
              <a:t>png-format</a:t>
            </a:r>
            <a:r>
              <a:rPr lang="nb-NO" sz="998" dirty="0" smtClean="0"/>
              <a:t>.</a:t>
            </a:r>
            <a:endParaRPr lang="nb-NO" sz="998" dirty="0"/>
          </a:p>
        </p:txBody>
      </p:sp>
      <p:sp>
        <p:nvSpPr>
          <p:cNvPr id="12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0208408" y="6314400"/>
            <a:ext cx="1002147" cy="216000"/>
          </a:xfrm>
          <a:prstGeom prst="rect">
            <a:avLst/>
          </a:prstGeom>
        </p:spPr>
        <p:txBody>
          <a:bodyPr lIns="72000"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A2BD35D-A3E1-4509-A475-9B35C4AA3138}" type="datetime4">
              <a:rPr lang="nb-NO" smtClean="0"/>
              <a:t>3. februar 2018</a:t>
            </a:fld>
            <a:endParaRPr lang="nb-NO" dirty="0"/>
          </a:p>
        </p:txBody>
      </p:sp>
      <p:sp>
        <p:nvSpPr>
          <p:cNvPr id="13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475821" y="6314400"/>
            <a:ext cx="5688632" cy="216000"/>
          </a:xfrm>
          <a:prstGeom prst="rect">
            <a:avLst/>
          </a:prstGeom>
        </p:spPr>
        <p:txBody>
          <a:bodyPr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nb-NO" dirty="0" smtClean="0"/>
              <a:t>Tittel på presentasjonen</a:t>
            </a:r>
            <a:endParaRPr lang="nb-NO" dirty="0"/>
          </a:p>
        </p:txBody>
      </p:sp>
      <p:sp>
        <p:nvSpPr>
          <p:cNvPr id="1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244986" y="6314400"/>
            <a:ext cx="503642" cy="216000"/>
          </a:xfrm>
          <a:prstGeom prst="rect">
            <a:avLst/>
          </a:prstGeom>
        </p:spPr>
        <p:txBody>
          <a:bodyPr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/>
              <a:pPr>
                <a:defRPr/>
              </a:pPr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26648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kmål Tekst med 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Sylinder 6"/>
          <p:cNvSpPr txBox="1"/>
          <p:nvPr userDrawn="1"/>
        </p:nvSpPr>
        <p:spPr>
          <a:xfrm>
            <a:off x="-95251" y="-304798"/>
            <a:ext cx="10128251" cy="24590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nb-NO" sz="998" dirty="0" smtClean="0"/>
              <a:t>Bokmål </a:t>
            </a:r>
            <a:r>
              <a:rPr lang="nb-NO" sz="998" dirty="0"/>
              <a:t>mal: Tekst med kulepunkter – </a:t>
            </a:r>
            <a:r>
              <a:rPr lang="nb-NO" sz="998" dirty="0" smtClean="0"/>
              <a:t>4 </a:t>
            </a:r>
            <a:r>
              <a:rPr lang="nb-NO" sz="998" dirty="0"/>
              <a:t>vertikale bilder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98800" y="296652"/>
            <a:ext cx="7308000" cy="1143000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198800" y="1592797"/>
            <a:ext cx="7308000" cy="4525963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8770572" y="1"/>
            <a:ext cx="3420000" cy="154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algn="ctr">
              <a:buNone/>
              <a:defRPr sz="8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 smtClean="0"/>
              <a:t>Klikk ikonet for å legge til et bilde</a:t>
            </a:r>
            <a:endParaRPr lang="nb-NO" noProof="0" dirty="0"/>
          </a:p>
        </p:txBody>
      </p:sp>
      <p:sp>
        <p:nvSpPr>
          <p:cNvPr id="9" name="Plassholder for bilde 7"/>
          <p:cNvSpPr>
            <a:spLocks noGrp="1"/>
          </p:cNvSpPr>
          <p:nvPr>
            <p:ph type="pic" sz="quarter" idx="14"/>
          </p:nvPr>
        </p:nvSpPr>
        <p:spPr>
          <a:xfrm>
            <a:off x="8770572" y="1556793"/>
            <a:ext cx="3420000" cy="1512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algn="ctr">
              <a:buNone/>
              <a:defRPr sz="8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 smtClean="0"/>
              <a:t>Klikk ikonet for å legge til et bilde</a:t>
            </a:r>
            <a:endParaRPr lang="nb-NO" noProof="0" dirty="0"/>
          </a:p>
        </p:txBody>
      </p:sp>
      <p:sp>
        <p:nvSpPr>
          <p:cNvPr id="10" name="Plassholder for bilde 7"/>
          <p:cNvSpPr>
            <a:spLocks noGrp="1"/>
          </p:cNvSpPr>
          <p:nvPr>
            <p:ph type="pic" sz="quarter" idx="15"/>
          </p:nvPr>
        </p:nvSpPr>
        <p:spPr>
          <a:xfrm>
            <a:off x="8770572" y="3068961"/>
            <a:ext cx="3420000" cy="154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algn="ctr">
              <a:buNone/>
              <a:defRPr sz="8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 smtClean="0"/>
              <a:t>Klikk ikonet for å legge til et bilde</a:t>
            </a:r>
            <a:endParaRPr lang="nb-NO" noProof="0" dirty="0"/>
          </a:p>
        </p:txBody>
      </p:sp>
      <p:sp>
        <p:nvSpPr>
          <p:cNvPr id="14" name="Plassholder for bilde 7"/>
          <p:cNvSpPr>
            <a:spLocks noGrp="1"/>
          </p:cNvSpPr>
          <p:nvPr>
            <p:ph type="pic" sz="quarter" idx="19"/>
          </p:nvPr>
        </p:nvSpPr>
        <p:spPr>
          <a:xfrm>
            <a:off x="8770572" y="4606760"/>
            <a:ext cx="3420000" cy="1512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algn="ctr">
              <a:buNone/>
              <a:defRPr sz="834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 smtClean="0"/>
              <a:t>Klikk ikonet for å legge til et bilde</a:t>
            </a:r>
            <a:endParaRPr lang="nb-NO" noProof="0" dirty="0"/>
          </a:p>
        </p:txBody>
      </p:sp>
      <p:sp>
        <p:nvSpPr>
          <p:cNvPr id="15" name="TekstSylinder 14"/>
          <p:cNvSpPr txBox="1"/>
          <p:nvPr userDrawn="1"/>
        </p:nvSpPr>
        <p:spPr>
          <a:xfrm>
            <a:off x="-3073399" y="5299079"/>
            <a:ext cx="2688166" cy="5530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nb-NO" sz="998" b="1" dirty="0"/>
              <a:t>Tips  bilde:</a:t>
            </a:r>
          </a:p>
          <a:p>
            <a:pPr>
              <a:defRPr/>
            </a:pPr>
            <a:r>
              <a:rPr lang="nb-NO" sz="998" dirty="0"/>
              <a:t>For best oppløsning </a:t>
            </a:r>
            <a:r>
              <a:rPr lang="nb-NO" sz="998" dirty="0" smtClean="0"/>
              <a:t>anbefales </a:t>
            </a:r>
            <a:r>
              <a:rPr lang="nb-NO" sz="998" dirty="0" err="1"/>
              <a:t>j</a:t>
            </a:r>
            <a:r>
              <a:rPr lang="nb-NO" sz="998" dirty="0" err="1" smtClean="0"/>
              <a:t>pg</a:t>
            </a:r>
            <a:r>
              <a:rPr lang="nb-NO" sz="998" dirty="0" smtClean="0"/>
              <a:t> </a:t>
            </a:r>
            <a:r>
              <a:rPr lang="nb-NO" sz="998" dirty="0"/>
              <a:t>og </a:t>
            </a:r>
            <a:r>
              <a:rPr lang="nb-NO" sz="998" dirty="0" err="1" smtClean="0"/>
              <a:t>png-format</a:t>
            </a:r>
            <a:r>
              <a:rPr lang="nb-NO" sz="998" dirty="0" smtClean="0"/>
              <a:t>.</a:t>
            </a:r>
            <a:endParaRPr lang="nb-NO" sz="998" dirty="0"/>
          </a:p>
        </p:txBody>
      </p:sp>
      <p:sp>
        <p:nvSpPr>
          <p:cNvPr id="13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0208408" y="6314400"/>
            <a:ext cx="1002147" cy="216000"/>
          </a:xfrm>
          <a:prstGeom prst="rect">
            <a:avLst/>
          </a:prstGeom>
        </p:spPr>
        <p:txBody>
          <a:bodyPr lIns="72000"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A2BD35D-A3E1-4509-A475-9B35C4AA3138}" type="datetime4">
              <a:rPr lang="nb-NO" smtClean="0"/>
              <a:t>3. februar 2018</a:t>
            </a:fld>
            <a:endParaRPr lang="nb-NO" dirty="0"/>
          </a:p>
        </p:txBody>
      </p:sp>
      <p:sp>
        <p:nvSpPr>
          <p:cNvPr id="1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475821" y="6314400"/>
            <a:ext cx="5688632" cy="216000"/>
          </a:xfrm>
          <a:prstGeom prst="rect">
            <a:avLst/>
          </a:prstGeom>
        </p:spPr>
        <p:txBody>
          <a:bodyPr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nb-NO" dirty="0" smtClean="0"/>
              <a:t>Tittel på presentasjonen</a:t>
            </a:r>
            <a:endParaRPr lang="nb-NO" dirty="0"/>
          </a:p>
        </p:txBody>
      </p:sp>
      <p:sp>
        <p:nvSpPr>
          <p:cNvPr id="2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244986" y="6314400"/>
            <a:ext cx="503642" cy="216000"/>
          </a:xfrm>
          <a:prstGeom prst="rect">
            <a:avLst/>
          </a:prstGeom>
        </p:spPr>
        <p:txBody>
          <a:bodyPr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/>
              <a:pPr>
                <a:defRPr/>
              </a:pPr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0631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/>
          </p:nvPr>
        </p:nvGraphicFramePr>
        <p:xfrm>
          <a:off x="1502" y="1502"/>
          <a:ext cx="15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1" imgW="592" imgH="591" progId="TCLayout.ActiveDocument.1">
                  <p:embed/>
                </p:oleObj>
              </mc:Choice>
              <mc:Fallback>
                <p:oleObj name="think-cell Slide" r:id="rId21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02" y="1502"/>
                        <a:ext cx="1500" cy="1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1198952" y="296863"/>
            <a:ext cx="9360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 smtClean="0"/>
              <a:t>Klikk for å redigere tittelstil</a:t>
            </a:r>
          </a:p>
        </p:txBody>
      </p:sp>
      <p:sp>
        <p:nvSpPr>
          <p:cNvPr id="1028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1198952" y="1592262"/>
            <a:ext cx="93600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</a:p>
        </p:txBody>
      </p:sp>
      <p:sp>
        <p:nvSpPr>
          <p:cNvPr id="1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0208408" y="6314400"/>
            <a:ext cx="1002147" cy="216000"/>
          </a:xfrm>
          <a:prstGeom prst="rect">
            <a:avLst/>
          </a:prstGeom>
        </p:spPr>
        <p:txBody>
          <a:bodyPr lIns="72000"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A2BD35D-A3E1-4509-A475-9B35C4AA3138}" type="datetime4">
              <a:rPr lang="nb-NO" smtClean="0"/>
              <a:t>3. februar 2018</a:t>
            </a:fld>
            <a:endParaRPr lang="nb-NO" dirty="0"/>
          </a:p>
        </p:txBody>
      </p:sp>
      <p:sp>
        <p:nvSpPr>
          <p:cNvPr id="2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475821" y="6314400"/>
            <a:ext cx="5688632" cy="216000"/>
          </a:xfrm>
          <a:prstGeom prst="rect">
            <a:avLst/>
          </a:prstGeom>
        </p:spPr>
        <p:txBody>
          <a:bodyPr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nb-NO" dirty="0" smtClean="0"/>
              <a:t>Tittel på presentasjonen</a:t>
            </a:r>
            <a:endParaRPr lang="nb-NO" dirty="0"/>
          </a:p>
        </p:txBody>
      </p:sp>
      <p:sp>
        <p:nvSpPr>
          <p:cNvPr id="2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244986" y="6314400"/>
            <a:ext cx="503642" cy="216000"/>
          </a:xfrm>
          <a:prstGeom prst="rect">
            <a:avLst/>
          </a:prstGeom>
        </p:spPr>
        <p:txBody>
          <a:bodyPr rIns="0"/>
          <a:lstStyle>
            <a:lvl1pPr algn="r">
              <a:defRPr sz="665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/>
              <a:pPr>
                <a:defRPr/>
              </a:pPr>
              <a:t>‹#›</a:t>
            </a:fld>
            <a:endParaRPr lang="nb-NO" dirty="0"/>
          </a:p>
        </p:txBody>
      </p:sp>
      <p:sp>
        <p:nvSpPr>
          <p:cNvPr id="2" name="TekstSylinder 1"/>
          <p:cNvSpPr txBox="1"/>
          <p:nvPr/>
        </p:nvSpPr>
        <p:spPr>
          <a:xfrm>
            <a:off x="595644" y="6304314"/>
            <a:ext cx="2592287" cy="1844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nb-NO" sz="665" noProof="0" dirty="0" smtClean="0"/>
              <a:t>Kommunal- og moderniseringsdepartementet</a:t>
            </a:r>
            <a:endParaRPr lang="nb-NO" sz="665" noProof="0" dirty="0"/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4887" y="6311702"/>
            <a:ext cx="180021" cy="218596"/>
          </a:xfrm>
          <a:prstGeom prst="rect">
            <a:avLst/>
          </a:prstGeom>
        </p:spPr>
      </p:pic>
      <p:cxnSp>
        <p:nvCxnSpPr>
          <p:cNvPr id="12" name="Rett linje 11"/>
          <p:cNvCxnSpPr/>
          <p:nvPr/>
        </p:nvCxnSpPr>
        <p:spPr>
          <a:xfrm>
            <a:off x="613869" y="6201310"/>
            <a:ext cx="0" cy="65669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3311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62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62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62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62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62">
          <a:solidFill>
            <a:schemeClr val="tx1"/>
          </a:solidFill>
          <a:latin typeface="Verdana" pitchFamily="34" charset="0"/>
        </a:defRPr>
      </a:lvl5pPr>
      <a:lvl6pPr marL="380295" algn="l" rtl="0" eaLnBrk="1" fontAlgn="base" hangingPunct="1">
        <a:spcBef>
          <a:spcPct val="0"/>
        </a:spcBef>
        <a:spcAft>
          <a:spcPct val="0"/>
        </a:spcAft>
        <a:defRPr sz="2662">
          <a:solidFill>
            <a:schemeClr val="tx1"/>
          </a:solidFill>
          <a:latin typeface="Verdana" pitchFamily="34" charset="0"/>
        </a:defRPr>
      </a:lvl6pPr>
      <a:lvl7pPr marL="760589" algn="l" rtl="0" eaLnBrk="1" fontAlgn="base" hangingPunct="1">
        <a:spcBef>
          <a:spcPct val="0"/>
        </a:spcBef>
        <a:spcAft>
          <a:spcPct val="0"/>
        </a:spcAft>
        <a:defRPr sz="2662">
          <a:solidFill>
            <a:schemeClr val="tx1"/>
          </a:solidFill>
          <a:latin typeface="Verdana" pitchFamily="34" charset="0"/>
        </a:defRPr>
      </a:lvl7pPr>
      <a:lvl8pPr marL="1140885" algn="l" rtl="0" eaLnBrk="1" fontAlgn="base" hangingPunct="1">
        <a:spcBef>
          <a:spcPct val="0"/>
        </a:spcBef>
        <a:spcAft>
          <a:spcPct val="0"/>
        </a:spcAft>
        <a:defRPr sz="2662">
          <a:solidFill>
            <a:schemeClr val="tx1"/>
          </a:solidFill>
          <a:latin typeface="Verdana" pitchFamily="34" charset="0"/>
        </a:defRPr>
      </a:lvl8pPr>
      <a:lvl9pPr marL="1521181" algn="l" rtl="0" eaLnBrk="1" fontAlgn="base" hangingPunct="1">
        <a:spcBef>
          <a:spcPct val="0"/>
        </a:spcBef>
        <a:spcAft>
          <a:spcPct val="0"/>
        </a:spcAft>
        <a:defRPr sz="2662">
          <a:solidFill>
            <a:schemeClr val="tx1"/>
          </a:solidFill>
          <a:latin typeface="Verdana" pitchFamily="34" charset="0"/>
        </a:defRPr>
      </a:lvl9pPr>
    </p:titleStyle>
    <p:bodyStyle>
      <a:lvl1pPr marL="285221" indent="-285221" algn="l" rtl="0" eaLnBrk="1" fontAlgn="base" hangingPunct="1">
        <a:spcBef>
          <a:spcPct val="20000"/>
        </a:spcBef>
        <a:spcAft>
          <a:spcPct val="0"/>
        </a:spcAft>
        <a:buClrTx/>
        <a:buFont typeface="Arial" charset="0"/>
        <a:buChar char="•"/>
        <a:defRPr sz="2164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17980" indent="-237686" algn="l" rtl="0" eaLnBrk="1" fontAlgn="base" hangingPunct="1">
        <a:spcBef>
          <a:spcPct val="20000"/>
        </a:spcBef>
        <a:spcAft>
          <a:spcPct val="0"/>
        </a:spcAft>
        <a:buClrTx/>
        <a:buFont typeface="Arial" charset="0"/>
        <a:buChar char="–"/>
        <a:defRPr sz="1996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50738" indent="-190148" algn="l" rtl="0" eaLnBrk="1" fontAlgn="base" hangingPunct="1">
        <a:spcBef>
          <a:spcPct val="20000"/>
        </a:spcBef>
        <a:spcAft>
          <a:spcPct val="0"/>
        </a:spcAft>
        <a:buClrTx/>
        <a:buFont typeface="Arial" charset="0"/>
        <a:buChar char="•"/>
        <a:defRPr sz="1832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31034" indent="-190148" algn="l" rtl="0" eaLnBrk="1" fontAlgn="base" hangingPunct="1">
        <a:spcBef>
          <a:spcPct val="20000"/>
        </a:spcBef>
        <a:spcAft>
          <a:spcPct val="0"/>
        </a:spcAft>
        <a:buClrTx/>
        <a:buFont typeface="Arial" charset="0"/>
        <a:buChar char="–"/>
        <a:defRPr sz="1664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711329" indent="-190148" algn="l" rtl="0" eaLnBrk="1" fontAlgn="base" hangingPunct="1">
        <a:spcBef>
          <a:spcPct val="20000"/>
        </a:spcBef>
        <a:spcAft>
          <a:spcPct val="0"/>
        </a:spcAft>
        <a:buClrTx/>
        <a:buFont typeface="Arial" charset="0"/>
        <a:buChar char="»"/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91625" indent="-190148" algn="l" defTabSz="760589" rtl="0" eaLnBrk="1" latinLnBrk="0" hangingPunct="1">
        <a:spcBef>
          <a:spcPct val="20000"/>
        </a:spcBef>
        <a:buFont typeface="Arial" pitchFamily="34" charset="0"/>
        <a:buChar char="•"/>
        <a:defRPr sz="1664" kern="1200">
          <a:solidFill>
            <a:schemeClr val="tx1"/>
          </a:solidFill>
          <a:latin typeface="+mn-lt"/>
          <a:ea typeface="+mn-ea"/>
          <a:cs typeface="+mn-cs"/>
        </a:defRPr>
      </a:lvl6pPr>
      <a:lvl7pPr marL="2471919" indent="-190148" algn="l" defTabSz="760589" rtl="0" eaLnBrk="1" latinLnBrk="0" hangingPunct="1">
        <a:spcBef>
          <a:spcPct val="20000"/>
        </a:spcBef>
        <a:buFont typeface="Arial" pitchFamily="34" charset="0"/>
        <a:buChar char="•"/>
        <a:defRPr sz="1664" kern="1200">
          <a:solidFill>
            <a:schemeClr val="tx1"/>
          </a:solidFill>
          <a:latin typeface="+mn-lt"/>
          <a:ea typeface="+mn-ea"/>
          <a:cs typeface="+mn-cs"/>
        </a:defRPr>
      </a:lvl7pPr>
      <a:lvl8pPr marL="2852214" indent="-190148" algn="l" defTabSz="760589" rtl="0" eaLnBrk="1" latinLnBrk="0" hangingPunct="1">
        <a:spcBef>
          <a:spcPct val="20000"/>
        </a:spcBef>
        <a:buFont typeface="Arial" pitchFamily="34" charset="0"/>
        <a:buChar char="•"/>
        <a:defRPr sz="1664" kern="1200">
          <a:solidFill>
            <a:schemeClr val="tx1"/>
          </a:solidFill>
          <a:latin typeface="+mn-lt"/>
          <a:ea typeface="+mn-ea"/>
          <a:cs typeface="+mn-cs"/>
        </a:defRPr>
      </a:lvl8pPr>
      <a:lvl9pPr marL="3232508" indent="-190148" algn="l" defTabSz="760589" rtl="0" eaLnBrk="1" latinLnBrk="0" hangingPunct="1">
        <a:spcBef>
          <a:spcPct val="20000"/>
        </a:spcBef>
        <a:buFont typeface="Arial" pitchFamily="34" charset="0"/>
        <a:buChar char="•"/>
        <a:defRPr sz="166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760589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1pPr>
      <a:lvl2pPr marL="380295" algn="l" defTabSz="760589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2pPr>
      <a:lvl3pPr marL="760589" algn="l" defTabSz="760589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3pPr>
      <a:lvl4pPr marL="1140885" algn="l" defTabSz="760589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4pPr>
      <a:lvl5pPr marL="1521181" algn="l" defTabSz="760589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5pPr>
      <a:lvl6pPr marL="1901476" algn="l" defTabSz="760589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6pPr>
      <a:lvl7pPr marL="2281771" algn="l" defTabSz="760589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7pPr>
      <a:lvl8pPr marL="2662066" algn="l" defTabSz="760589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8pPr>
      <a:lvl9pPr marL="3042360" algn="l" defTabSz="760589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5044" y="1114660"/>
            <a:ext cx="9393499" cy="5590124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719" y="-314786"/>
            <a:ext cx="11571701" cy="1143000"/>
          </a:xfrm>
        </p:spPr>
        <p:txBody>
          <a:bodyPr/>
          <a:lstStyle/>
          <a:p>
            <a:r>
              <a:rPr lang="nb-NO" sz="3025" dirty="0"/>
              <a:t>Organisering av Program for bedre styring og ledelse i </a:t>
            </a:r>
            <a:r>
              <a:rPr lang="nb-NO" sz="3025" dirty="0"/>
              <a:t>sta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766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okmål pptmal_16-9_KMD">
  <a:themeElements>
    <a:clrScheme name="KMD 3">
      <a:dk1>
        <a:srgbClr val="000000"/>
      </a:dk1>
      <a:lt1>
        <a:srgbClr val="FFFFFF"/>
      </a:lt1>
      <a:dk2>
        <a:srgbClr val="B9B3AE"/>
      </a:dk2>
      <a:lt2>
        <a:srgbClr val="EAE8E5"/>
      </a:lt2>
      <a:accent1>
        <a:srgbClr val="B9B3AE"/>
      </a:accent1>
      <a:accent2>
        <a:srgbClr val="003057"/>
      </a:accent2>
      <a:accent3>
        <a:srgbClr val="0082BA"/>
      </a:accent3>
      <a:accent4>
        <a:srgbClr val="C6DAE7"/>
      </a:accent4>
      <a:accent5>
        <a:srgbClr val="ED8B00"/>
      </a:accent5>
      <a:accent6>
        <a:srgbClr val="DA291C"/>
      </a:accent6>
      <a:hlink>
        <a:srgbClr val="012169"/>
      </a:hlink>
      <a:folHlink>
        <a:srgbClr val="A116E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MD-pptmal_16-9_Norsk_v1.potx" id="{CBDABA52-4513-4D8C-B93B-24E3682037AC}" vid="{5A532895-452C-40BB-A6DB-A0215884A14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</Words>
  <Application>Microsoft Office PowerPoint</Application>
  <PresentationFormat>Widescreen</PresentationFormat>
  <Paragraphs>1</Paragraphs>
  <Slides>1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</vt:i4>
      </vt:variant>
    </vt:vector>
  </HeadingPairs>
  <TitlesOfParts>
    <vt:vector size="7" baseType="lpstr">
      <vt:lpstr>ＭＳ Ｐゴシック</vt:lpstr>
      <vt:lpstr>Arial</vt:lpstr>
      <vt:lpstr>Calibri</vt:lpstr>
      <vt:lpstr>Verdana</vt:lpstr>
      <vt:lpstr>Bokmål pptmal_16-9_KMD</vt:lpstr>
      <vt:lpstr>think-cell Slide</vt:lpstr>
      <vt:lpstr>Organisering av Program for bedre styring og ledelse i staten</vt:lpstr>
    </vt:vector>
  </TitlesOfParts>
  <Company>DS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rganisering av Program for bedre styring og ledelse i staten</dc:title>
  <dc:creator>Bjørka Hanne-Cecilie</dc:creator>
  <cp:lastModifiedBy>Bjørka Hanne-Cecilie</cp:lastModifiedBy>
  <cp:revision>1</cp:revision>
  <dcterms:created xsi:type="dcterms:W3CDTF">2018-02-03T08:01:01Z</dcterms:created>
  <dcterms:modified xsi:type="dcterms:W3CDTF">2018-02-03T08:01:09Z</dcterms:modified>
</cp:coreProperties>
</file>